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56" r:id="rId2"/>
  </p:sldIdLst>
  <p:sldSz cx="13442950" cy="7561263"/>
  <p:notesSz cx="6858000" cy="9144000"/>
  <p:defaultTextStyle>
    <a:defPPr>
      <a:defRPr lang="en-US"/>
    </a:defPPr>
    <a:lvl1pPr marL="0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1pPr>
    <a:lvl2pPr marL="504063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2pPr>
    <a:lvl3pPr marL="1008126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3pPr>
    <a:lvl4pPr marL="1512189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4pPr>
    <a:lvl5pPr marL="2016252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5pPr>
    <a:lvl6pPr marL="2520315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6pPr>
    <a:lvl7pPr marL="3024378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7pPr>
    <a:lvl8pPr marL="3528441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8pPr>
    <a:lvl9pPr marL="4032504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758703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85423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hyperlink" Target="https://www.youtube.com/watch?v=g4U4BQW9OEk" TargetMode="Externa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www.dcm.co.uk/planne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hlinkClick r:id="rId2"/>
            <a:extLst>
              <a:ext uri="{FF2B5EF4-FFF2-40B4-BE49-F238E27FC236}">
                <a16:creationId xmlns:a16="http://schemas.microsoft.com/office/drawing/2014/main" id="{142BFBC7-0612-4E96-851C-4CE3C4B1A8BA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211" t="4921" r="25162" b="4483"/>
          <a:stretch/>
        </p:blipFill>
        <p:spPr>
          <a:xfrm>
            <a:off x="6934200" y="1371600"/>
            <a:ext cx="6121400" cy="5092700"/>
          </a:xfrm>
        </p:spPr>
      </p:pic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 bwMode="gray">
          <a:xfrm>
            <a:off x="269874" y="1371599"/>
            <a:ext cx="6347493" cy="514755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lease Date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25 May 2022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Cast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Tom Cruise, Miles Teller, Jennifer Connelly 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Director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Joseph Kosinski (</a:t>
            </a:r>
            <a:r>
              <a:rPr lang="en-US" i="1" dirty="0">
                <a:solidFill>
                  <a:schemeClr val="accent6"/>
                </a:solidFill>
              </a:rPr>
              <a:t>Tron: Legacy</a:t>
            </a:r>
            <a:r>
              <a:rPr lang="en-US" dirty="0">
                <a:solidFill>
                  <a:schemeClr val="accent6"/>
                </a:solidFill>
              </a:rPr>
              <a:t>, </a:t>
            </a:r>
            <a:r>
              <a:rPr lang="en-US" i="1" dirty="0">
                <a:solidFill>
                  <a:schemeClr val="accent6"/>
                </a:solidFill>
              </a:rPr>
              <a:t>Oblivion</a:t>
            </a:r>
            <a:r>
              <a:rPr lang="en-US" dirty="0">
                <a:solidFill>
                  <a:schemeClr val="accent6"/>
                </a:solidFill>
              </a:rPr>
              <a:t>)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commended if you like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Top Gun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asons to buy into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Tom Cruise an his particular brand of do-it-yourself Hollywood action cinema has proved a box office phenomenon, and his return to a classic 80s movie looks set to soar.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Key audience info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6-34 Men index: 278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Est. DCM admissions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.9m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r>
              <a:rPr lang="en-GB" b="0" dirty="0"/>
              <a:t>Pete ‘Maverick’ Mitchell, now a flight instructor at the Top Gun academy, trains the next generation of fighter pilots while searching for new meaning in his life. A sequel to the 1986 classic, </a:t>
            </a:r>
            <a:r>
              <a:rPr lang="en-GB" b="0" i="1" dirty="0"/>
              <a:t>Top Gun</a:t>
            </a:r>
            <a:r>
              <a:rPr lang="en-GB" b="0" dirty="0"/>
              <a:t>.</a:t>
            </a:r>
          </a:p>
          <a:p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A9111B8-54BF-4884-9303-64D5F781B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Top Gun: Maverick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4BE2C2-4FD7-470A-9D69-F8C697ED01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69875" y="622014"/>
            <a:ext cx="12423775" cy="436563"/>
          </a:xfrm>
          <a:prstGeom prst="rect">
            <a:avLst/>
          </a:prstGeom>
        </p:spPr>
        <p:txBody>
          <a:bodyPr/>
          <a:lstStyle/>
          <a:p>
            <a:r>
              <a:rPr lang="en-GB" sz="1400" dirty="0">
                <a:solidFill>
                  <a:schemeClr val="accent6"/>
                </a:solidFill>
              </a:rPr>
              <a:t>Fly back into the Danger Zone!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867752-9319-4148-9EC0-5C48F6403853}"/>
              </a:ext>
            </a:extLst>
          </p:cNvPr>
          <p:cNvSpPr txBox="1"/>
          <p:nvPr/>
        </p:nvSpPr>
        <p:spPr>
          <a:xfrm>
            <a:off x="7267688" y="6519155"/>
            <a:ext cx="545442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4"/>
              </a:rPr>
              <a:t>Plan your campaig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16F28D8-8CD5-48CF-A047-5A46979A2697}"/>
              </a:ext>
            </a:extLst>
          </p:cNvPr>
          <p:cNvGrpSpPr/>
          <p:nvPr/>
        </p:nvGrpSpPr>
        <p:grpSpPr>
          <a:xfrm>
            <a:off x="9430170" y="3353430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B4732596-B5C0-4EFD-90A8-77C205508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9764BB6-7D1B-4BB5-A3D0-F0015E8D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3" y="1663700"/>
              <a:ext cx="1377950" cy="1592263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85011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34</Words>
  <Application>Microsoft Office PowerPoint</Application>
  <PresentationFormat>Custom</PresentationFormat>
  <Paragraphs>2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Impact</vt:lpstr>
      <vt:lpstr>Wingdings</vt:lpstr>
      <vt:lpstr>Copy Slides</vt:lpstr>
      <vt:lpstr>think-cell Slide</vt:lpstr>
      <vt:lpstr>Top Gun: Maverick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2 2022</dc:title>
  <dc:creator/>
  <dc:description>Top Gun: Maverick</dc:description>
  <cp:lastModifiedBy/>
  <cp:revision>1</cp:revision>
  <dcterms:created xsi:type="dcterms:W3CDTF">2019-03-25T11:13:20Z</dcterms:created>
  <dcterms:modified xsi:type="dcterms:W3CDTF">2022-01-19T16:57:26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Presentation">
    <vt:lpwstr>Q2 2022</vt:lpwstr>
  </property>
  <property fmtid="{D5CDD505-2E9C-101B-9397-08002B2CF9AE}" pid="4" name="SlideDescription">
    <vt:lpwstr>Top Gun: Maverick</vt:lpwstr>
  </property>
</Properties>
</file>